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</p:sldIdLst>
  <p:sldSz cx="9144000" cy="6858000" type="screen4x3"/>
  <p:notesSz cx="6858000" cy="9144000"/>
  <p:custDataLst>
    <p:tags r:id="rId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11" d="100"/>
          <a:sy n="111" d="100"/>
        </p:scale>
        <p:origin x="-1710" y="-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0ED85-3A72-4100-AFD8-982EA1EB3507}" type="datetimeFigureOut">
              <a:rPr lang="ru-RU" smtClean="0"/>
              <a:t>01.08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53EDA-74AA-4C1E-B784-497702FED35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71554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0ED85-3A72-4100-AFD8-982EA1EB3507}" type="datetimeFigureOut">
              <a:rPr lang="ru-RU" smtClean="0"/>
              <a:t>01.08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53EDA-74AA-4C1E-B784-497702FED35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21828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0ED85-3A72-4100-AFD8-982EA1EB3507}" type="datetimeFigureOut">
              <a:rPr lang="ru-RU" smtClean="0"/>
              <a:t>01.08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53EDA-74AA-4C1E-B784-497702FED35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76246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4"/>
            <a:ext cx="3912704" cy="249299"/>
          </a:xfrm>
        </p:spPr>
        <p:txBody>
          <a:bodyPr/>
          <a:lstStyle>
            <a:lvl1pPr>
              <a:defRPr sz="1800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900237"/>
            <a:ext cx="4946650" cy="435133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>
                <a:solidFill>
                  <a:srgbClr val="333333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379418" y="968606"/>
            <a:ext cx="4192587" cy="166199"/>
          </a:xfrm>
        </p:spPr>
        <p:txBody>
          <a:bodyPr wrap="square">
            <a:spAutoFit/>
          </a:bodyPr>
          <a:lstStyle>
            <a:lvl1pPr marL="0" indent="0" algn="l">
              <a:buNone/>
              <a:defRPr sz="1200" b="1" i="0">
                <a:solidFill>
                  <a:srgbClr val="00AAFF"/>
                </a:solidFill>
                <a:latin typeface="Frutiger Neue LT W1G Condensed Heavy" charset="0"/>
                <a:ea typeface="Frutiger Neue LT W1G Condensed Heavy" charset="0"/>
                <a:cs typeface="Frutiger Neue LT W1G Condensed Heavy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41247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0ED85-3A72-4100-AFD8-982EA1EB3507}" type="datetimeFigureOut">
              <a:rPr lang="ru-RU" smtClean="0"/>
              <a:t>01.08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53EDA-74AA-4C1E-B784-497702FED35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881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0ED85-3A72-4100-AFD8-982EA1EB3507}" type="datetimeFigureOut">
              <a:rPr lang="ru-RU" smtClean="0"/>
              <a:t>01.08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53EDA-74AA-4C1E-B784-497702FED35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496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0ED85-3A72-4100-AFD8-982EA1EB3507}" type="datetimeFigureOut">
              <a:rPr lang="ru-RU" smtClean="0"/>
              <a:t>01.08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53EDA-74AA-4C1E-B784-497702FED35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92910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0ED85-3A72-4100-AFD8-982EA1EB3507}" type="datetimeFigureOut">
              <a:rPr lang="ru-RU" smtClean="0"/>
              <a:t>01.08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53EDA-74AA-4C1E-B784-497702FED35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49828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0ED85-3A72-4100-AFD8-982EA1EB3507}" type="datetimeFigureOut">
              <a:rPr lang="ru-RU" smtClean="0"/>
              <a:t>01.08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53EDA-74AA-4C1E-B784-497702FED35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39961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0ED85-3A72-4100-AFD8-982EA1EB3507}" type="datetimeFigureOut">
              <a:rPr lang="ru-RU" smtClean="0"/>
              <a:t>01.08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53EDA-74AA-4C1E-B784-497702FED35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35156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0ED85-3A72-4100-AFD8-982EA1EB3507}" type="datetimeFigureOut">
              <a:rPr lang="ru-RU" smtClean="0"/>
              <a:t>01.08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53EDA-74AA-4C1E-B784-497702FED35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22544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0ED85-3A72-4100-AFD8-982EA1EB3507}" type="datetimeFigureOut">
              <a:rPr lang="ru-RU" smtClean="0"/>
              <a:t>01.08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53EDA-74AA-4C1E-B784-497702FED35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72517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80ED85-3A72-4100-AFD8-982EA1EB3507}" type="datetimeFigureOut">
              <a:rPr lang="ru-RU" smtClean="0"/>
              <a:t>01.08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B53EDA-74AA-4C1E-B784-497702FED35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990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144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EF21C470-9E5B-4718-A135-F71B22CA5F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2626" y="76436"/>
            <a:ext cx="887705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ЦЕЛЕВАЯ ПАКЕТНАЯ ЛИНЕЙКА: 1 августа 2019 года</a:t>
            </a: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141821" y="1275197"/>
            <a:ext cx="2125121" cy="36536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 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₽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2411152" y="1275197"/>
            <a:ext cx="2109795" cy="36536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 200 ₽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4657726" y="1275197"/>
            <a:ext cx="2105015" cy="36536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 900 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₽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6892757" y="1275197"/>
            <a:ext cx="2106364" cy="36536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 000 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₽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6" name="Прямоугольник 95"/>
          <p:cNvSpPr/>
          <p:nvPr/>
        </p:nvSpPr>
        <p:spPr>
          <a:xfrm>
            <a:off x="141821" y="702627"/>
            <a:ext cx="2119035" cy="4592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 СТАРТЕ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7" name="Прямоугольник 96"/>
          <p:cNvSpPr/>
          <p:nvPr/>
        </p:nvSpPr>
        <p:spPr>
          <a:xfrm>
            <a:off x="4651902" y="710523"/>
            <a:ext cx="2115610" cy="4513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СЁ ВКЛЮЧЕНО 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8" name="Прямоугольник 97"/>
          <p:cNvSpPr/>
          <p:nvPr/>
        </p:nvSpPr>
        <p:spPr>
          <a:xfrm>
            <a:off x="2411149" y="710523"/>
            <a:ext cx="2109792" cy="4513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АМОЕ ВАЖНОЕ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9" name="Прямоугольник 98"/>
          <p:cNvSpPr/>
          <p:nvPr/>
        </p:nvSpPr>
        <p:spPr>
          <a:xfrm>
            <a:off x="6889328" y="710523"/>
            <a:ext cx="2109792" cy="4513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ЛЬШИЕ ОБОРОТЫ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6" name="Прямоугольник 85"/>
          <p:cNvSpPr/>
          <p:nvPr/>
        </p:nvSpPr>
        <p:spPr>
          <a:xfrm>
            <a:off x="147634" y="1753539"/>
            <a:ext cx="2113222" cy="304361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крытие, КОП и 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служивание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чета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дключение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 обслуживание ДБО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несение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личных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нешние платежи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рублях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 5 шт. / мес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еревод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 счета ФЛ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ыдача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личных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ниверсальная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рта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907708" y="1730985"/>
            <a:ext cx="409575" cy="452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 ₽</a:t>
            </a:r>
          </a:p>
        </p:txBody>
      </p:sp>
      <p:sp>
        <p:nvSpPr>
          <p:cNvPr id="91" name="Прямоугольник 90"/>
          <p:cNvSpPr/>
          <p:nvPr/>
        </p:nvSpPr>
        <p:spPr>
          <a:xfrm>
            <a:off x="1907708" y="2060851"/>
            <a:ext cx="409575" cy="452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 ₽</a:t>
            </a:r>
          </a:p>
        </p:txBody>
      </p:sp>
      <p:cxnSp>
        <p:nvCxnSpPr>
          <p:cNvPr id="92" name="Прямая соединительная линия 91"/>
          <p:cNvCxnSpPr/>
          <p:nvPr/>
        </p:nvCxnSpPr>
        <p:spPr>
          <a:xfrm>
            <a:off x="238124" y="2132856"/>
            <a:ext cx="1812133" cy="0"/>
          </a:xfrm>
          <a:prstGeom prst="line">
            <a:avLst/>
          </a:prstGeom>
          <a:ln w="952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Прямоугольник 92"/>
          <p:cNvSpPr/>
          <p:nvPr/>
        </p:nvSpPr>
        <p:spPr>
          <a:xfrm>
            <a:off x="971600" y="3984915"/>
            <a:ext cx="1314451" cy="452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1 % к базовому тарифу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1267086" y="2976803"/>
            <a:ext cx="1000658" cy="452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 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₽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верх лимита – 100 р. за платеж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4" name="Прямоугольник 103"/>
          <p:cNvSpPr/>
          <p:nvPr/>
        </p:nvSpPr>
        <p:spPr>
          <a:xfrm>
            <a:off x="2416971" y="1733083"/>
            <a:ext cx="2100263" cy="306407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крытие, КОП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служивание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чета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дключение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 обслуживание ДБО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несение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личных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 50 000 Р/ мес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нешние платежи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рублях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 30 шт. / мес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ереводы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 счета ФЛ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ыдача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личных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ниверсальная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рта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9" name="Прямоугольник 108"/>
          <p:cNvSpPr/>
          <p:nvPr/>
        </p:nvSpPr>
        <p:spPr>
          <a:xfrm>
            <a:off x="4098133" y="1751948"/>
            <a:ext cx="409575" cy="4522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 ₽</a:t>
            </a:r>
          </a:p>
        </p:txBody>
      </p:sp>
      <p:sp>
        <p:nvSpPr>
          <p:cNvPr id="110" name="Прямоугольник 109"/>
          <p:cNvSpPr/>
          <p:nvPr/>
        </p:nvSpPr>
        <p:spPr>
          <a:xfrm>
            <a:off x="4107651" y="2112636"/>
            <a:ext cx="409575" cy="4522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 ₽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3257553" y="3984844"/>
            <a:ext cx="1314451" cy="4522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зовый тариф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 0,5% от суммы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на ЗП)</a:t>
            </a:r>
          </a:p>
        </p:txBody>
      </p:sp>
      <p:sp>
        <p:nvSpPr>
          <p:cNvPr id="117" name="Прямоугольник 116"/>
          <p:cNvSpPr/>
          <p:nvPr/>
        </p:nvSpPr>
        <p:spPr>
          <a:xfrm>
            <a:off x="4657719" y="1733083"/>
            <a:ext cx="2105018" cy="306406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крытие, КОП и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служивание счета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дключение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 обслуживание ДБО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несение наличных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 250 000 Р/ мес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нешние платежи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рублях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 60 шт. / мес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еревод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 счета ФЛ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ыдача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личных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ниверсальная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рта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2" name="Прямоугольник 121"/>
          <p:cNvSpPr/>
          <p:nvPr/>
        </p:nvSpPr>
        <p:spPr>
          <a:xfrm>
            <a:off x="6353169" y="1718417"/>
            <a:ext cx="409575" cy="4523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 ₽</a:t>
            </a:r>
          </a:p>
        </p:txBody>
      </p:sp>
      <p:sp>
        <p:nvSpPr>
          <p:cNvPr id="123" name="Прямоугольник 122"/>
          <p:cNvSpPr/>
          <p:nvPr/>
        </p:nvSpPr>
        <p:spPr>
          <a:xfrm>
            <a:off x="6353168" y="2060849"/>
            <a:ext cx="409575" cy="4523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 ₽</a:t>
            </a:r>
          </a:p>
        </p:txBody>
      </p:sp>
      <p:sp>
        <p:nvSpPr>
          <p:cNvPr id="125" name="Прямоугольник 124"/>
          <p:cNvSpPr/>
          <p:nvPr/>
        </p:nvSpPr>
        <p:spPr>
          <a:xfrm>
            <a:off x="5580116" y="3984773"/>
            <a:ext cx="1162999" cy="4523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зовый тариф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от 0,5% от суммы (на ЗП)</a:t>
            </a:r>
          </a:p>
        </p:txBody>
      </p:sp>
      <p:sp>
        <p:nvSpPr>
          <p:cNvPr id="130" name="Прямоугольник 129"/>
          <p:cNvSpPr/>
          <p:nvPr/>
        </p:nvSpPr>
        <p:spPr>
          <a:xfrm>
            <a:off x="6909426" y="1733084"/>
            <a:ext cx="2093124" cy="306406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крытие, КОП и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служивание счета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дключение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 обслуживание ДБО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несение наличных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 750 000 Р/ мес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нешние платежи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рублях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 150 шт. / мес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еревод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 счета ФЛ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ыдача наличных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 300 000 Р / мес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на прочие нужды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ниверсальная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рта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5" name="Прямоугольник 134"/>
          <p:cNvSpPr/>
          <p:nvPr/>
        </p:nvSpPr>
        <p:spPr>
          <a:xfrm>
            <a:off x="8604453" y="1707681"/>
            <a:ext cx="409575" cy="431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 ₽</a:t>
            </a:r>
          </a:p>
        </p:txBody>
      </p:sp>
      <p:sp>
        <p:nvSpPr>
          <p:cNvPr id="136" name="Прямоугольник 135"/>
          <p:cNvSpPr/>
          <p:nvPr/>
        </p:nvSpPr>
        <p:spPr>
          <a:xfrm>
            <a:off x="8604452" y="2060848"/>
            <a:ext cx="409575" cy="431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 ₽</a:t>
            </a:r>
          </a:p>
        </p:txBody>
      </p:sp>
      <p:sp>
        <p:nvSpPr>
          <p:cNvPr id="139" name="Прямоугольник 138"/>
          <p:cNvSpPr/>
          <p:nvPr/>
        </p:nvSpPr>
        <p:spPr>
          <a:xfrm>
            <a:off x="7812360" y="2493144"/>
            <a:ext cx="1192134" cy="431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 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₽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верх лимита −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х 1,5 к </a:t>
            </a:r>
            <a:r>
              <a:rPr kumimoji="0" lang="ru-RU" sz="8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з.тариф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1" name="Прямоугольник 100"/>
          <p:cNvSpPr/>
          <p:nvPr/>
        </p:nvSpPr>
        <p:spPr>
          <a:xfrm>
            <a:off x="1173958" y="2492899"/>
            <a:ext cx="1314451" cy="452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,5 % от суммы</a:t>
            </a:r>
          </a:p>
        </p:txBody>
      </p:sp>
      <p:sp>
        <p:nvSpPr>
          <p:cNvPr id="103" name="Прямоугольник 102"/>
          <p:cNvSpPr/>
          <p:nvPr/>
        </p:nvSpPr>
        <p:spPr>
          <a:xfrm>
            <a:off x="4107651" y="4416963"/>
            <a:ext cx="409575" cy="452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 ₽</a:t>
            </a:r>
          </a:p>
        </p:txBody>
      </p:sp>
      <p:sp>
        <p:nvSpPr>
          <p:cNvPr id="116" name="Прямоугольник 115"/>
          <p:cNvSpPr/>
          <p:nvPr/>
        </p:nvSpPr>
        <p:spPr>
          <a:xfrm>
            <a:off x="6353166" y="4416963"/>
            <a:ext cx="409575" cy="452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 ₽</a:t>
            </a:r>
          </a:p>
        </p:txBody>
      </p:sp>
      <p:sp>
        <p:nvSpPr>
          <p:cNvPr id="129" name="Прямоугольник 128"/>
          <p:cNvSpPr/>
          <p:nvPr/>
        </p:nvSpPr>
        <p:spPr>
          <a:xfrm>
            <a:off x="8626925" y="4435319"/>
            <a:ext cx="409575" cy="452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 ₽</a:t>
            </a:r>
          </a:p>
        </p:txBody>
      </p:sp>
      <p:cxnSp>
        <p:nvCxnSpPr>
          <p:cNvPr id="161" name="Прямая соединительная линия 160"/>
          <p:cNvCxnSpPr/>
          <p:nvPr/>
        </p:nvCxnSpPr>
        <p:spPr>
          <a:xfrm>
            <a:off x="239315" y="2492896"/>
            <a:ext cx="1812133" cy="0"/>
          </a:xfrm>
          <a:prstGeom prst="line">
            <a:avLst/>
          </a:prstGeom>
          <a:ln w="952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Прямая соединительная линия 162"/>
          <p:cNvCxnSpPr/>
          <p:nvPr/>
        </p:nvCxnSpPr>
        <p:spPr>
          <a:xfrm>
            <a:off x="239315" y="2996952"/>
            <a:ext cx="1812133" cy="0"/>
          </a:xfrm>
          <a:prstGeom prst="line">
            <a:avLst/>
          </a:prstGeom>
          <a:ln w="952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Прямая соединительная линия 163"/>
          <p:cNvCxnSpPr/>
          <p:nvPr/>
        </p:nvCxnSpPr>
        <p:spPr>
          <a:xfrm>
            <a:off x="267889" y="3933056"/>
            <a:ext cx="1812133" cy="0"/>
          </a:xfrm>
          <a:prstGeom prst="line">
            <a:avLst/>
          </a:prstGeom>
          <a:ln w="952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Прямая соединительная линия 164"/>
          <p:cNvCxnSpPr/>
          <p:nvPr/>
        </p:nvCxnSpPr>
        <p:spPr>
          <a:xfrm>
            <a:off x="267889" y="4509120"/>
            <a:ext cx="1812133" cy="0"/>
          </a:xfrm>
          <a:prstGeom prst="line">
            <a:avLst/>
          </a:prstGeom>
          <a:ln w="952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Прямая соединительная линия 165"/>
          <p:cNvCxnSpPr/>
          <p:nvPr/>
        </p:nvCxnSpPr>
        <p:spPr>
          <a:xfrm>
            <a:off x="2533656" y="2132856"/>
            <a:ext cx="1812133" cy="0"/>
          </a:xfrm>
          <a:prstGeom prst="line">
            <a:avLst/>
          </a:prstGeom>
          <a:ln w="952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Прямая соединительная линия 166"/>
          <p:cNvCxnSpPr/>
          <p:nvPr/>
        </p:nvCxnSpPr>
        <p:spPr>
          <a:xfrm>
            <a:off x="2533656" y="2492896"/>
            <a:ext cx="1812133" cy="0"/>
          </a:xfrm>
          <a:prstGeom prst="line">
            <a:avLst/>
          </a:prstGeom>
          <a:ln w="952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Прямая соединительная линия 167"/>
          <p:cNvCxnSpPr/>
          <p:nvPr/>
        </p:nvCxnSpPr>
        <p:spPr>
          <a:xfrm>
            <a:off x="2525322" y="2996952"/>
            <a:ext cx="1812133" cy="0"/>
          </a:xfrm>
          <a:prstGeom prst="line">
            <a:avLst/>
          </a:prstGeom>
          <a:ln w="952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Прямая соединительная линия 168"/>
          <p:cNvCxnSpPr/>
          <p:nvPr/>
        </p:nvCxnSpPr>
        <p:spPr>
          <a:xfrm>
            <a:off x="2516980" y="3573016"/>
            <a:ext cx="1812133" cy="0"/>
          </a:xfrm>
          <a:prstGeom prst="line">
            <a:avLst/>
          </a:prstGeom>
          <a:ln w="952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Прямая соединительная линия 169"/>
          <p:cNvCxnSpPr/>
          <p:nvPr/>
        </p:nvCxnSpPr>
        <p:spPr>
          <a:xfrm>
            <a:off x="2525321" y="3933056"/>
            <a:ext cx="1812133" cy="0"/>
          </a:xfrm>
          <a:prstGeom prst="line">
            <a:avLst/>
          </a:prstGeom>
          <a:ln w="952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Прямая соединительная линия 170"/>
          <p:cNvCxnSpPr/>
          <p:nvPr/>
        </p:nvCxnSpPr>
        <p:spPr>
          <a:xfrm>
            <a:off x="4825594" y="2132856"/>
            <a:ext cx="1812133" cy="0"/>
          </a:xfrm>
          <a:prstGeom prst="line">
            <a:avLst/>
          </a:prstGeom>
          <a:ln w="952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Прямая соединительная линия 171"/>
          <p:cNvCxnSpPr/>
          <p:nvPr/>
        </p:nvCxnSpPr>
        <p:spPr>
          <a:xfrm>
            <a:off x="4825594" y="2492896"/>
            <a:ext cx="1812133" cy="0"/>
          </a:xfrm>
          <a:prstGeom prst="line">
            <a:avLst/>
          </a:prstGeom>
          <a:ln w="952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Прямая соединительная линия 172"/>
          <p:cNvCxnSpPr/>
          <p:nvPr/>
        </p:nvCxnSpPr>
        <p:spPr>
          <a:xfrm>
            <a:off x="7051119" y="2996952"/>
            <a:ext cx="1812133" cy="0"/>
          </a:xfrm>
          <a:prstGeom prst="line">
            <a:avLst/>
          </a:prstGeom>
          <a:ln w="952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Прямая соединительная линия 173"/>
          <p:cNvCxnSpPr/>
          <p:nvPr/>
        </p:nvCxnSpPr>
        <p:spPr>
          <a:xfrm>
            <a:off x="7038015" y="3933056"/>
            <a:ext cx="1812133" cy="0"/>
          </a:xfrm>
          <a:prstGeom prst="line">
            <a:avLst/>
          </a:prstGeom>
          <a:ln w="952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Прямая соединительная линия 174"/>
          <p:cNvCxnSpPr/>
          <p:nvPr/>
        </p:nvCxnSpPr>
        <p:spPr>
          <a:xfrm>
            <a:off x="4788683" y="2996952"/>
            <a:ext cx="1812133" cy="0"/>
          </a:xfrm>
          <a:prstGeom prst="line">
            <a:avLst/>
          </a:prstGeom>
          <a:ln w="952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Прямая соединительная линия 176"/>
          <p:cNvCxnSpPr/>
          <p:nvPr/>
        </p:nvCxnSpPr>
        <p:spPr>
          <a:xfrm>
            <a:off x="4788682" y="4509120"/>
            <a:ext cx="1812133" cy="0"/>
          </a:xfrm>
          <a:prstGeom prst="line">
            <a:avLst/>
          </a:prstGeom>
          <a:ln w="952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Прямая соединительная линия 177"/>
          <p:cNvCxnSpPr/>
          <p:nvPr/>
        </p:nvCxnSpPr>
        <p:spPr>
          <a:xfrm>
            <a:off x="7038015" y="2492896"/>
            <a:ext cx="1812133" cy="0"/>
          </a:xfrm>
          <a:prstGeom prst="line">
            <a:avLst/>
          </a:prstGeom>
          <a:ln w="952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Прямая соединительная линия 178"/>
          <p:cNvCxnSpPr/>
          <p:nvPr/>
        </p:nvCxnSpPr>
        <p:spPr>
          <a:xfrm>
            <a:off x="7038015" y="2132856"/>
            <a:ext cx="1812133" cy="0"/>
          </a:xfrm>
          <a:prstGeom prst="line">
            <a:avLst/>
          </a:prstGeom>
          <a:ln w="952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Прямая соединительная линия 179"/>
          <p:cNvCxnSpPr/>
          <p:nvPr/>
        </p:nvCxnSpPr>
        <p:spPr>
          <a:xfrm>
            <a:off x="7038015" y="4509120"/>
            <a:ext cx="1812133" cy="0"/>
          </a:xfrm>
          <a:prstGeom prst="line">
            <a:avLst/>
          </a:prstGeom>
          <a:ln w="952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Прямоугольник 184"/>
          <p:cNvSpPr/>
          <p:nvPr/>
        </p:nvSpPr>
        <p:spPr>
          <a:xfrm>
            <a:off x="2362679" y="4849619"/>
            <a:ext cx="6706258" cy="1963759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accent2"/>
            </a:solidFill>
            <a:round/>
            <a:headEnd/>
            <a:tailEnd/>
          </a:ln>
        </p:spPr>
        <p:txBody>
          <a:bodyPr rtlCol="0" anchor="t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AA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charset="0"/>
              </a:rPr>
              <a:t>ДОПОЛНИТЕЛЬНЫЕ ОПЦИИ К ПАКЕТАМ «ВСЁ ВКЛЮЧЕНО» И «БОЛЬШИЕ ОБОРОТЫ»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00AA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6" name="Прямоугольник 185"/>
          <p:cNvSpPr/>
          <p:nvPr/>
        </p:nvSpPr>
        <p:spPr>
          <a:xfrm>
            <a:off x="1907708" y="4437115"/>
            <a:ext cx="409575" cy="452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 ₽</a:t>
            </a:r>
          </a:p>
        </p:txBody>
      </p:sp>
      <p:sp>
        <p:nvSpPr>
          <p:cNvPr id="187" name="Прямоугольник 186"/>
          <p:cNvSpPr/>
          <p:nvPr/>
        </p:nvSpPr>
        <p:spPr>
          <a:xfrm>
            <a:off x="2416971" y="5229203"/>
            <a:ext cx="959469" cy="139982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«ПЛАТЕЖИ ПЛЮС»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0 внешних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латежей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8" name="Прямоугольник 187"/>
          <p:cNvSpPr/>
          <p:nvPr/>
        </p:nvSpPr>
        <p:spPr>
          <a:xfrm>
            <a:off x="3347864" y="5229203"/>
            <a:ext cx="1297301" cy="139982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ПЕРСОНАЛЬНЫЕ ПЕРЕВОДЫ»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п. лимит по 100 тыс. руб./мес.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на счета внутри и вне Банка)</a:t>
            </a:r>
          </a:p>
        </p:txBody>
      </p:sp>
      <p:sp>
        <p:nvSpPr>
          <p:cNvPr id="189" name="Прямоугольник 188"/>
          <p:cNvSpPr/>
          <p:nvPr/>
        </p:nvSpPr>
        <p:spPr>
          <a:xfrm>
            <a:off x="4760563" y="5229203"/>
            <a:ext cx="1170992" cy="139982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ВЫДАЧА НАЛИЧНЫХ»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0 тыс. руб.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на прочие нужды)</a:t>
            </a:r>
          </a:p>
        </p:txBody>
      </p:sp>
      <p:sp>
        <p:nvSpPr>
          <p:cNvPr id="190" name="Прямоугольник 189"/>
          <p:cNvSpPr/>
          <p:nvPr/>
        </p:nvSpPr>
        <p:spPr>
          <a:xfrm>
            <a:off x="6032206" y="5229203"/>
            <a:ext cx="1170992" cy="139982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КАССА ПЛЮС»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00 тыс. руб.</a:t>
            </a:r>
          </a:p>
        </p:txBody>
      </p:sp>
      <p:sp>
        <p:nvSpPr>
          <p:cNvPr id="191" name="Прямоугольник 190"/>
          <p:cNvSpPr/>
          <p:nvPr/>
        </p:nvSpPr>
        <p:spPr>
          <a:xfrm>
            <a:off x="7303849" y="5229203"/>
            <a:ext cx="1698700" cy="1399823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ВЭД»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служивание счета в ин. валюте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К: 6 000 тыс. руб./ мес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алютные переводы: 4 000 тыс. руб./мес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0" name="Прямоугольник 99"/>
          <p:cNvSpPr/>
          <p:nvPr/>
        </p:nvSpPr>
        <p:spPr>
          <a:xfrm>
            <a:off x="2416970" y="5686701"/>
            <a:ext cx="959469" cy="36536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 500 ₽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5" name="Прямоугольник 104"/>
          <p:cNvSpPr/>
          <p:nvPr/>
        </p:nvSpPr>
        <p:spPr>
          <a:xfrm>
            <a:off x="3465087" y="5666493"/>
            <a:ext cx="1169168" cy="36536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 000 ₽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4762752" y="5666497"/>
            <a:ext cx="1168151" cy="36536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50 ₽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6038837" y="5657973"/>
            <a:ext cx="1164362" cy="36536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 000 ₽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1" name="Прямоугольник 110"/>
          <p:cNvSpPr/>
          <p:nvPr/>
        </p:nvSpPr>
        <p:spPr>
          <a:xfrm>
            <a:off x="7303855" y="5657973"/>
            <a:ext cx="1684197" cy="36536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 000 ₽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141822" y="5126880"/>
            <a:ext cx="2115606" cy="36536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олько для новых клиентов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8" name="Прямоугольник 117"/>
          <p:cNvSpPr/>
          <p:nvPr/>
        </p:nvSpPr>
        <p:spPr>
          <a:xfrm>
            <a:off x="141820" y="5644108"/>
            <a:ext cx="2120400" cy="365363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рок действия: 12 мес.</a:t>
            </a:r>
          </a:p>
        </p:txBody>
      </p:sp>
      <p:sp>
        <p:nvSpPr>
          <p:cNvPr id="119" name="Прямоугольник 118"/>
          <p:cNvSpPr/>
          <p:nvPr/>
        </p:nvSpPr>
        <p:spPr>
          <a:xfrm>
            <a:off x="147634" y="6161900"/>
            <a:ext cx="2113222" cy="3648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пции не доступны</a:t>
            </a: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2313469" y="702628"/>
            <a:ext cx="0" cy="592503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>
            <a:off x="251522" y="3573016"/>
            <a:ext cx="1812133" cy="0"/>
          </a:xfrm>
          <a:prstGeom prst="line">
            <a:avLst/>
          </a:prstGeom>
          <a:ln w="952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Прямоугольник 75"/>
          <p:cNvSpPr/>
          <p:nvPr/>
        </p:nvSpPr>
        <p:spPr>
          <a:xfrm>
            <a:off x="7866065" y="3408851"/>
            <a:ext cx="1314451" cy="452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зовый тариф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971600" y="3552867"/>
            <a:ext cx="1314451" cy="452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1 % к базовому тарифу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3257553" y="3480859"/>
            <a:ext cx="1314451" cy="452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зовый тариф</a:t>
            </a:r>
          </a:p>
        </p:txBody>
      </p:sp>
      <p:cxnSp>
        <p:nvCxnSpPr>
          <p:cNvPr id="79" name="Прямая соединительная линия 78"/>
          <p:cNvCxnSpPr/>
          <p:nvPr/>
        </p:nvCxnSpPr>
        <p:spPr>
          <a:xfrm>
            <a:off x="2543847" y="4509120"/>
            <a:ext cx="1812133" cy="0"/>
          </a:xfrm>
          <a:prstGeom prst="line">
            <a:avLst/>
          </a:prstGeom>
          <a:ln w="952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Прямоугольник 79"/>
          <p:cNvSpPr/>
          <p:nvPr/>
        </p:nvSpPr>
        <p:spPr>
          <a:xfrm>
            <a:off x="5436100" y="3480859"/>
            <a:ext cx="1314451" cy="452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зовый тариф</a:t>
            </a:r>
          </a:p>
        </p:txBody>
      </p:sp>
      <p:cxnSp>
        <p:nvCxnSpPr>
          <p:cNvPr id="87" name="Прямая соединительная линия 86"/>
          <p:cNvCxnSpPr/>
          <p:nvPr/>
        </p:nvCxnSpPr>
        <p:spPr>
          <a:xfrm>
            <a:off x="4762756" y="3933056"/>
            <a:ext cx="1812133" cy="0"/>
          </a:xfrm>
          <a:prstGeom prst="line">
            <a:avLst/>
          </a:prstGeom>
          <a:ln w="952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Прямая соединительная линия 87"/>
          <p:cNvCxnSpPr/>
          <p:nvPr/>
        </p:nvCxnSpPr>
        <p:spPr>
          <a:xfrm>
            <a:off x="4788027" y="3573016"/>
            <a:ext cx="1812133" cy="0"/>
          </a:xfrm>
          <a:prstGeom prst="line">
            <a:avLst/>
          </a:prstGeom>
          <a:ln w="952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/>
          <p:cNvCxnSpPr/>
          <p:nvPr/>
        </p:nvCxnSpPr>
        <p:spPr>
          <a:xfrm>
            <a:off x="7020276" y="3573016"/>
            <a:ext cx="1812133" cy="0"/>
          </a:xfrm>
          <a:prstGeom prst="line">
            <a:avLst/>
          </a:prstGeom>
          <a:ln w="952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Прямоугольник 93"/>
          <p:cNvSpPr/>
          <p:nvPr/>
        </p:nvSpPr>
        <p:spPr>
          <a:xfrm>
            <a:off x="3520285" y="3048811"/>
            <a:ext cx="1000658" cy="452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 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₽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верх лимита – 50 р. за платеж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2" name="Прямоугольник 101"/>
          <p:cNvSpPr/>
          <p:nvPr/>
        </p:nvSpPr>
        <p:spPr>
          <a:xfrm>
            <a:off x="5724128" y="3048811"/>
            <a:ext cx="1000658" cy="452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 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₽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верх лимита – 50 р. за платеж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7" name="Прямоугольник 106"/>
          <p:cNvSpPr/>
          <p:nvPr/>
        </p:nvSpPr>
        <p:spPr>
          <a:xfrm>
            <a:off x="7977521" y="3048811"/>
            <a:ext cx="1051525" cy="452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 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₽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верх лимита – 32 р. за платеж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0" name="Прямоугольник 119"/>
          <p:cNvSpPr/>
          <p:nvPr/>
        </p:nvSpPr>
        <p:spPr>
          <a:xfrm>
            <a:off x="7945076" y="3984915"/>
            <a:ext cx="1091420" cy="4521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 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₽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верх лимита – базовый тариф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1" name="Прямоугольник 120"/>
          <p:cNvSpPr/>
          <p:nvPr/>
        </p:nvSpPr>
        <p:spPr>
          <a:xfrm>
            <a:off x="5589642" y="2492896"/>
            <a:ext cx="1142599" cy="431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 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₽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верх лимита −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х 1,5 к </a:t>
            </a:r>
            <a:r>
              <a:rPr kumimoji="0" lang="ru-RU" sz="8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з.тариф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4" name="Прямоугольник 123"/>
          <p:cNvSpPr/>
          <p:nvPr/>
        </p:nvSpPr>
        <p:spPr>
          <a:xfrm>
            <a:off x="3357395" y="2492896"/>
            <a:ext cx="1142599" cy="431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 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₽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верх лимита −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х 1,5 к </a:t>
            </a:r>
            <a:r>
              <a:rPr kumimoji="0" lang="ru-RU" sz="8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з.тариф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A289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A289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357395" y="651977"/>
            <a:ext cx="1261884" cy="25391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 w="6600">
                  <a:solidFill>
                    <a:srgbClr val="00AAFF"/>
                  </a:solidFill>
                  <a:prstDash val="solid"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чнем с лучшего!</a:t>
            </a:r>
            <a:endParaRPr kumimoji="0" lang="ru-RU" sz="1000" b="0" i="0" u="none" strike="noStrike" kern="1200" cap="none" spc="0" normalizeH="0" baseline="0" noProof="0" dirty="0">
              <a:ln w="6600">
                <a:solidFill>
                  <a:srgbClr val="00AAFF"/>
                </a:solidFill>
                <a:prstDash val="solid"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5" name="Прямоугольник 84"/>
          <p:cNvSpPr/>
          <p:nvPr/>
        </p:nvSpPr>
        <p:spPr>
          <a:xfrm>
            <a:off x="5587485" y="653972"/>
            <a:ext cx="1261884" cy="25391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 w="6600">
                  <a:solidFill>
                    <a:srgbClr val="00AAFF"/>
                  </a:solidFill>
                  <a:prstDash val="solid"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чнем с лучшего!</a:t>
            </a:r>
            <a:endParaRPr kumimoji="0" lang="ru-RU" sz="1000" b="0" i="0" u="none" strike="noStrike" kern="1200" cap="none" spc="0" normalizeH="0" baseline="0" noProof="0" dirty="0">
              <a:ln w="6600">
                <a:solidFill>
                  <a:srgbClr val="00AAFF"/>
                </a:solidFill>
                <a:prstDash val="solid"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2843808" y="1015533"/>
            <a:ext cx="174622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1" u="none" strike="noStrike" kern="1200" cap="none" spc="0" normalizeH="0" baseline="0" noProof="0" dirty="0" smtClean="0">
                <a:ln>
                  <a:noFill/>
                </a:ln>
                <a:solidFill>
                  <a:srgbClr val="78B397">
                    <a:lumMod val="20000"/>
                    <a:lumOff val="8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 мес. бесплатно  для новых клиентов</a:t>
            </a:r>
            <a:endParaRPr kumimoji="0" lang="ru-RU" sz="700" b="1" i="1" u="none" strike="noStrike" kern="1200" cap="none" spc="0" normalizeH="0" baseline="0" noProof="0" dirty="0">
              <a:ln>
                <a:noFill/>
              </a:ln>
              <a:solidFill>
                <a:srgbClr val="78B397">
                  <a:lumMod val="20000"/>
                  <a:lumOff val="8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5083158" y="1008168"/>
            <a:ext cx="174622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1" u="none" strike="noStrike" kern="1200" cap="none" spc="0" normalizeH="0" baseline="0" noProof="0" dirty="0" smtClean="0">
                <a:ln>
                  <a:noFill/>
                </a:ln>
                <a:solidFill>
                  <a:srgbClr val="78B397">
                    <a:lumMod val="20000"/>
                    <a:lumOff val="8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 мес. бесплатно  для новых клиентов</a:t>
            </a:r>
            <a:endParaRPr kumimoji="0" lang="ru-RU" sz="700" b="1" i="1" u="none" strike="noStrike" kern="1200" cap="none" spc="0" normalizeH="0" baseline="0" noProof="0" dirty="0">
              <a:ln>
                <a:noFill/>
              </a:ln>
              <a:solidFill>
                <a:srgbClr val="78B397">
                  <a:lumMod val="20000"/>
                  <a:lumOff val="8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14" name="Прямая соединительная линия 113"/>
          <p:cNvCxnSpPr/>
          <p:nvPr>
            <p:custDataLst>
              <p:tags r:id="rId4"/>
            </p:custDataLst>
          </p:nvPr>
        </p:nvCxnSpPr>
        <p:spPr>
          <a:xfrm>
            <a:off x="147873" y="476672"/>
            <a:ext cx="1440918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TextBox 125"/>
          <p:cNvSpPr txBox="1"/>
          <p:nvPr/>
        </p:nvSpPr>
        <p:spPr>
          <a:xfrm>
            <a:off x="418362" y="984751"/>
            <a:ext cx="18424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1" u="none" strike="noStrike" kern="1200" cap="none" spc="0" normalizeH="0" baseline="0" noProof="0" dirty="0" smtClean="0">
                <a:ln>
                  <a:noFill/>
                </a:ln>
                <a:solidFill>
                  <a:srgbClr val="78B397">
                    <a:lumMod val="20000"/>
                    <a:lumOff val="8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2 мес. бесплатно  для новых клиентов</a:t>
            </a:r>
            <a:endParaRPr kumimoji="0" lang="ru-RU" sz="700" b="1" i="1" u="none" strike="noStrike" kern="1200" cap="none" spc="0" normalizeH="0" baseline="0" noProof="0" dirty="0">
              <a:ln>
                <a:noFill/>
              </a:ln>
              <a:solidFill>
                <a:srgbClr val="78B397">
                  <a:lumMod val="20000"/>
                  <a:lumOff val="8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8223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AMO_UNIQUEIDENTIFIER" val="fc067041-a166-47a1-bfad-7cf6b9f5336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lEN7SNiEe3LS0nPDyL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vPthAE50GbmYoR02q1g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92</Words>
  <Application>Microsoft Office PowerPoint</Application>
  <PresentationFormat>Экран (4:3)</PresentationFormat>
  <Paragraphs>206</Paragraphs>
  <Slides>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3" baseType="lpstr">
      <vt:lpstr>Тема Office</vt:lpstr>
      <vt:lpstr>think-cell Slide</vt:lpstr>
      <vt:lpstr>Презентация PowerPoint</vt:lpstr>
    </vt:vector>
  </TitlesOfParts>
  <Company>VTB24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Юркин Дмитрий Игоревич</dc:creator>
  <cp:lastModifiedBy>Давыдов Юрий Геннадьевич</cp:lastModifiedBy>
  <cp:revision>2</cp:revision>
  <dcterms:created xsi:type="dcterms:W3CDTF">2019-08-01T09:00:47Z</dcterms:created>
  <dcterms:modified xsi:type="dcterms:W3CDTF">2019-08-01T12:56:37Z</dcterms:modified>
</cp:coreProperties>
</file>